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0"/>
  </p:notesMasterIdLst>
  <p:handoutMasterIdLst>
    <p:handoutMasterId r:id="rId11"/>
  </p:handoutMasterIdLst>
  <p:sldIdLst>
    <p:sldId id="1277" r:id="rId3"/>
    <p:sldId id="1293" r:id="rId4"/>
    <p:sldId id="1294" r:id="rId5"/>
    <p:sldId id="1296" r:id="rId6"/>
    <p:sldId id="1300" r:id="rId7"/>
    <p:sldId id="1302" r:id="rId8"/>
    <p:sldId id="1301" r:id="rId9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00"/>
            <p14:sldId id="1302"/>
            <p14:sldId id="130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D61"/>
    <a:srgbClr val="F2F2F2"/>
    <a:srgbClr val="D31145"/>
    <a:srgbClr val="6A491C"/>
    <a:srgbClr val="00FF00"/>
    <a:srgbClr val="4D7FBC"/>
    <a:srgbClr val="FFF1C2"/>
    <a:srgbClr val="9BBB59"/>
    <a:srgbClr val="C0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76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94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63</c:v>
                </c:pt>
                <c:pt idx="1">
                  <c:v>66</c:v>
                </c:pt>
                <c:pt idx="2">
                  <c:v>64</c:v>
                </c:pt>
                <c:pt idx="3">
                  <c:v>61</c:v>
                </c:pt>
                <c:pt idx="4">
                  <c:v>69</c:v>
                </c:pt>
                <c:pt idx="5">
                  <c:v>92</c:v>
                </c:pt>
                <c:pt idx="6">
                  <c:v>97</c:v>
                </c:pt>
                <c:pt idx="7">
                  <c:v>102</c:v>
                </c:pt>
                <c:pt idx="8">
                  <c:v>113</c:v>
                </c:pt>
                <c:pt idx="9">
                  <c:v>117</c:v>
                </c:pt>
                <c:pt idx="10">
                  <c:v>115</c:v>
                </c:pt>
                <c:pt idx="11">
                  <c:v>127</c:v>
                </c:pt>
                <c:pt idx="12">
                  <c:v>157</c:v>
                </c:pt>
                <c:pt idx="13">
                  <c:v>164</c:v>
                </c:pt>
                <c:pt idx="14">
                  <c:v>168</c:v>
                </c:pt>
                <c:pt idx="15">
                  <c:v>166</c:v>
                </c:pt>
                <c:pt idx="16">
                  <c:v>182</c:v>
                </c:pt>
                <c:pt idx="17">
                  <c:v>161</c:v>
                </c:pt>
                <c:pt idx="18">
                  <c:v>164</c:v>
                </c:pt>
                <c:pt idx="19">
                  <c:v>185</c:v>
                </c:pt>
                <c:pt idx="20">
                  <c:v>180</c:v>
                </c:pt>
                <c:pt idx="21">
                  <c:v>182</c:v>
                </c:pt>
                <c:pt idx="22">
                  <c:v>183</c:v>
                </c:pt>
                <c:pt idx="23">
                  <c:v>188</c:v>
                </c:pt>
                <c:pt idx="24">
                  <c:v>188</c:v>
                </c:pt>
                <c:pt idx="25">
                  <c:v>197</c:v>
                </c:pt>
                <c:pt idx="26">
                  <c:v>229</c:v>
                </c:pt>
                <c:pt idx="27">
                  <c:v>226</c:v>
                </c:pt>
                <c:pt idx="28">
                  <c:v>253</c:v>
                </c:pt>
                <c:pt idx="29">
                  <c:v>251</c:v>
                </c:pt>
                <c:pt idx="30">
                  <c:v>244</c:v>
                </c:pt>
                <c:pt idx="31">
                  <c:v>234</c:v>
                </c:pt>
                <c:pt idx="32">
                  <c:v>247</c:v>
                </c:pt>
                <c:pt idx="33">
                  <c:v>302</c:v>
                </c:pt>
                <c:pt idx="34">
                  <c:v>302</c:v>
                </c:pt>
                <c:pt idx="35">
                  <c:v>326</c:v>
                </c:pt>
                <c:pt idx="36">
                  <c:v>316</c:v>
                </c:pt>
                <c:pt idx="37">
                  <c:v>344</c:v>
                </c:pt>
                <c:pt idx="38">
                  <c:v>333</c:v>
                </c:pt>
                <c:pt idx="39">
                  <c:v>350</c:v>
                </c:pt>
                <c:pt idx="40">
                  <c:v>425</c:v>
                </c:pt>
                <c:pt idx="41">
                  <c:v>444</c:v>
                </c:pt>
                <c:pt idx="42">
                  <c:v>470</c:v>
                </c:pt>
                <c:pt idx="43">
                  <c:v>496</c:v>
                </c:pt>
                <c:pt idx="44">
                  <c:v>526</c:v>
                </c:pt>
                <c:pt idx="45">
                  <c:v>515</c:v>
                </c:pt>
                <c:pt idx="46">
                  <c:v>541</c:v>
                </c:pt>
                <c:pt idx="47">
                  <c:v>662</c:v>
                </c:pt>
                <c:pt idx="48">
                  <c:v>725</c:v>
                </c:pt>
                <c:pt idx="49">
                  <c:v>795</c:v>
                </c:pt>
                <c:pt idx="50">
                  <c:v>838</c:v>
                </c:pt>
                <c:pt idx="51">
                  <c:v>919</c:v>
                </c:pt>
                <c:pt idx="52">
                  <c:v>927</c:v>
                </c:pt>
                <c:pt idx="53">
                  <c:v>990</c:v>
                </c:pt>
                <c:pt idx="54">
                  <c:v>1172</c:v>
                </c:pt>
                <c:pt idx="55">
                  <c:v>1293</c:v>
                </c:pt>
                <c:pt idx="56">
                  <c:v>1394</c:v>
                </c:pt>
                <c:pt idx="57">
                  <c:v>1388</c:v>
                </c:pt>
                <c:pt idx="58">
                  <c:v>1574</c:v>
                </c:pt>
                <c:pt idx="59">
                  <c:v>1594</c:v>
                </c:pt>
                <c:pt idx="60">
                  <c:v>1727</c:v>
                </c:pt>
                <c:pt idx="61">
                  <c:v>2100</c:v>
                </c:pt>
                <c:pt idx="62">
                  <c:v>2286</c:v>
                </c:pt>
                <c:pt idx="63">
                  <c:v>2486</c:v>
                </c:pt>
                <c:pt idx="64">
                  <c:v>2649</c:v>
                </c:pt>
                <c:pt idx="65">
                  <c:v>2780</c:v>
                </c:pt>
                <c:pt idx="66">
                  <c:v>2789</c:v>
                </c:pt>
                <c:pt idx="67">
                  <c:v>2927</c:v>
                </c:pt>
                <c:pt idx="68">
                  <c:v>3360</c:v>
                </c:pt>
                <c:pt idx="69">
                  <c:v>35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9.0102070550962</c:v>
                </c:pt>
                <c:pt idx="50">
                  <c:v>300.04967971226552</c:v>
                </c:pt>
                <c:pt idx="51">
                  <c:v>300.93125675521037</c:v>
                </c:pt>
                <c:pt idx="52">
                  <c:v>301.6800788969137</c:v>
                </c:pt>
                <c:pt idx="53">
                  <c:v>302.31889086426099</c:v>
                </c:pt>
                <c:pt idx="54">
                  <c:v>302.86536250535784</c:v>
                </c:pt>
                <c:pt idx="55">
                  <c:v>303.33290662105446</c:v>
                </c:pt>
                <c:pt idx="56">
                  <c:v>303.73279179141036</c:v>
                </c:pt>
                <c:pt idx="57">
                  <c:v>304.07349306182334</c:v>
                </c:pt>
                <c:pt idx="58">
                  <c:v>304.36376978190702</c:v>
                </c:pt>
                <c:pt idx="59">
                  <c:v>304.61108489793344</c:v>
                </c:pt>
                <c:pt idx="60">
                  <c:v>304.82179682342826</c:v>
                </c:pt>
                <c:pt idx="61">
                  <c:v>305.0013229124886</c:v>
                </c:pt>
                <c:pt idx="62">
                  <c:v>305.15427873868407</c:v>
                </c:pt>
                <c:pt idx="63">
                  <c:v>305.2845967603688</c:v>
                </c:pt>
                <c:pt idx="64">
                  <c:v>305.39562742326177</c:v>
                </c:pt>
                <c:pt idx="65">
                  <c:v>305.490225299619</c:v>
                </c:pt>
                <c:pt idx="66">
                  <c:v>305.57082247861558</c:v>
                </c:pt>
                <c:pt idx="67">
                  <c:v>305.63949109478699</c:v>
                </c:pt>
                <c:pt idx="68">
                  <c:v>305.69799660212112</c:v>
                </c:pt>
                <c:pt idx="69">
                  <c:v>305.74784316346552</c:v>
                </c:pt>
                <c:pt idx="70">
                  <c:v>305.7903123222008</c:v>
                </c:pt>
                <c:pt idx="71">
                  <c:v>305.82649595041983</c:v>
                </c:pt>
                <c:pt idx="72">
                  <c:v>305.85732432070267</c:v>
                </c:pt>
                <c:pt idx="73">
                  <c:v>305.88359002320612</c:v>
                </c:pt>
                <c:pt idx="74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7.89825866734782</c:v>
                </c:pt>
                <c:pt idx="50">
                  <c:v>376.26277110258656</c:v>
                </c:pt>
                <c:pt idx="51">
                  <c:v>384.69461763221273</c:v>
                </c:pt>
                <c:pt idx="52">
                  <c:v>393.20365804253322</c:v>
                </c:pt>
                <c:pt idx="53">
                  <c:v>401.79758002260263</c:v>
                </c:pt>
                <c:pt idx="54">
                  <c:v>410.48249692032471</c:v>
                </c:pt>
                <c:pt idx="55">
                  <c:v>419.26248568004587</c:v>
                </c:pt>
                <c:pt idx="56">
                  <c:v>428.14055613985568</c:v>
                </c:pt>
                <c:pt idx="57">
                  <c:v>437.11919200648487</c:v>
                </c:pt>
                <c:pt idx="58">
                  <c:v>446.19953242397321</c:v>
                </c:pt>
                <c:pt idx="59">
                  <c:v>455.38272943989443</c:v>
                </c:pt>
                <c:pt idx="60">
                  <c:v>464.66994815151963</c:v>
                </c:pt>
                <c:pt idx="61">
                  <c:v>474.06236685363638</c:v>
                </c:pt>
                <c:pt idx="62">
                  <c:v>483.56117718804217</c:v>
                </c:pt>
                <c:pt idx="63">
                  <c:v>493.16758429473128</c:v>
                </c:pt>
                <c:pt idx="64">
                  <c:v>502.88280696479421</c:v>
                </c:pt>
                <c:pt idx="65">
                  <c:v>512.70807779504901</c:v>
                </c:pt>
                <c:pt idx="66">
                  <c:v>522.64464334442414</c:v>
                </c:pt>
                <c:pt idx="67">
                  <c:v>532.69376429211286</c:v>
                </c:pt>
                <c:pt idx="68">
                  <c:v>542.85671559751904</c:v>
                </c:pt>
                <c:pt idx="69">
                  <c:v>553.13478666201479</c:v>
                </c:pt>
                <c:pt idx="70">
                  <c:v>563.52928149253023</c:v>
                </c:pt>
                <c:pt idx="71">
                  <c:v>574.04151886699651</c:v>
                </c:pt>
                <c:pt idx="72">
                  <c:v>584.6728325016627</c:v>
                </c:pt>
                <c:pt idx="73">
                  <c:v>595.42457122030794</c:v>
                </c:pt>
                <c:pt idx="74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65.69450591495428</c:v>
                </c:pt>
                <c:pt idx="50">
                  <c:v>485.29598178218561</c:v>
                </c:pt>
                <c:pt idx="51">
                  <c:v>505.59020295496089</c:v>
                </c:pt>
                <c:pt idx="52">
                  <c:v>526.59652234094006</c:v>
                </c:pt>
                <c:pt idx="53">
                  <c:v>548.33470294630422</c:v>
                </c:pt>
                <c:pt idx="54">
                  <c:v>570.82481223542061</c:v>
                </c:pt>
                <c:pt idx="55">
                  <c:v>594.08700689511943</c:v>
                </c:pt>
                <c:pt idx="56">
                  <c:v>618.14151501278252</c:v>
                </c:pt>
                <c:pt idx="57">
                  <c:v>643.00864757063187</c:v>
                </c:pt>
                <c:pt idx="58">
                  <c:v>668.71585715583149</c:v>
                </c:pt>
                <c:pt idx="59">
                  <c:v>695.29152377601758</c:v>
                </c:pt>
                <c:pt idx="60">
                  <c:v>722.76498618999699</c:v>
                </c:pt>
                <c:pt idx="61">
                  <c:v>751.16657429687905</c:v>
                </c:pt>
                <c:pt idx="62">
                  <c:v>780.52764261939717</c:v>
                </c:pt>
                <c:pt idx="63">
                  <c:v>810.88060491838519</c:v>
                </c:pt>
                <c:pt idx="64">
                  <c:v>842.25896997662142</c:v>
                </c:pt>
                <c:pt idx="65">
                  <c:v>874.69737859154486</c:v>
                </c:pt>
                <c:pt idx="66">
                  <c:v>908.23164181768266</c:v>
                </c:pt>
                <c:pt idx="67">
                  <c:v>942.89878050100708</c:v>
                </c:pt>
                <c:pt idx="68">
                  <c:v>978.73706614886692</c:v>
                </c:pt>
                <c:pt idx="69">
                  <c:v>1015.7860631806125</c:v>
                </c:pt>
                <c:pt idx="70">
                  <c:v>1054.0866726055574</c:v>
                </c:pt>
                <c:pt idx="71">
                  <c:v>1093.6811771764972</c:v>
                </c:pt>
                <c:pt idx="72">
                  <c:v>1134.6132880686314</c:v>
                </c:pt>
                <c:pt idx="73">
                  <c:v>1176.9281931354233</c:v>
                </c:pt>
                <c:pt idx="74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61.99317087666952</c:v>
                </c:pt>
                <c:pt idx="50">
                  <c:v>821.97580033493875</c:v>
                </c:pt>
                <c:pt idx="51">
                  <c:v>886.32891506367014</c:v>
                </c:pt>
                <c:pt idx="52">
                  <c:v>957.029713986861</c:v>
                </c:pt>
                <c:pt idx="53">
                  <c:v>1035.5638648695319</c:v>
                </c:pt>
                <c:pt idx="54">
                  <c:v>1121.985124085563</c:v>
                </c:pt>
                <c:pt idx="55">
                  <c:v>1215.1282252083911</c:v>
                </c:pt>
                <c:pt idx="56">
                  <c:v>1315.5749741198299</c:v>
                </c:pt>
                <c:pt idx="57">
                  <c:v>1427.3431691532096</c:v>
                </c:pt>
                <c:pt idx="58">
                  <c:v>1548.7455518993343</c:v>
                </c:pt>
                <c:pt idx="59">
                  <c:v>1680.7875901009847</c:v>
                </c:pt>
                <c:pt idx="60">
                  <c:v>1823.8325860428449</c:v>
                </c:pt>
                <c:pt idx="61">
                  <c:v>1976.6765960615921</c:v>
                </c:pt>
                <c:pt idx="62">
                  <c:v>2136.2081560838092</c:v>
                </c:pt>
                <c:pt idx="63">
                  <c:v>2297.1496042405743</c:v>
                </c:pt>
                <c:pt idx="64">
                  <c:v>2458.2768513374153</c:v>
                </c:pt>
                <c:pt idx="65">
                  <c:v>2620.8080727912429</c:v>
                </c:pt>
                <c:pt idx="66">
                  <c:v>2781.2865958437333</c:v>
                </c:pt>
                <c:pt idx="67">
                  <c:v>2938.0555242097289</c:v>
                </c:pt>
                <c:pt idx="68">
                  <c:v>3091.3816487350678</c:v>
                </c:pt>
                <c:pt idx="69">
                  <c:v>3240.686736023305</c:v>
                </c:pt>
                <c:pt idx="70">
                  <c:v>3385.2864164972461</c:v>
                </c:pt>
                <c:pt idx="71">
                  <c:v>3525.5279725535829</c:v>
                </c:pt>
                <c:pt idx="72">
                  <c:v>3661.0242454996919</c:v>
                </c:pt>
                <c:pt idx="73">
                  <c:v>3790.8432883474497</c:v>
                </c:pt>
                <c:pt idx="74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2</c:v>
                </c:pt>
                <c:pt idx="1">
                  <c:v>14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6</c:v>
                </c:pt>
                <c:pt idx="17">
                  <c:v>43</c:v>
                </c:pt>
                <c:pt idx="18">
                  <c:v>40</c:v>
                </c:pt>
                <c:pt idx="19">
                  <c:v>42</c:v>
                </c:pt>
                <c:pt idx="20">
                  <c:v>40</c:v>
                </c:pt>
                <c:pt idx="21">
                  <c:v>38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4</c:v>
                </c:pt>
                <c:pt idx="32">
                  <c:v>52</c:v>
                </c:pt>
                <c:pt idx="33">
                  <c:v>58</c:v>
                </c:pt>
                <c:pt idx="34">
                  <c:v>72</c:v>
                </c:pt>
                <c:pt idx="35">
                  <c:v>86</c:v>
                </c:pt>
                <c:pt idx="36">
                  <c:v>75</c:v>
                </c:pt>
                <c:pt idx="37">
                  <c:v>78</c:v>
                </c:pt>
                <c:pt idx="38">
                  <c:v>77</c:v>
                </c:pt>
                <c:pt idx="39">
                  <c:v>77</c:v>
                </c:pt>
                <c:pt idx="40">
                  <c:v>99</c:v>
                </c:pt>
                <c:pt idx="41">
                  <c:v>113</c:v>
                </c:pt>
                <c:pt idx="42">
                  <c:v>114</c:v>
                </c:pt>
                <c:pt idx="43">
                  <c:v>116</c:v>
                </c:pt>
                <c:pt idx="44">
                  <c:v>115</c:v>
                </c:pt>
                <c:pt idx="45">
                  <c:v>112</c:v>
                </c:pt>
                <c:pt idx="46">
                  <c:v>116</c:v>
                </c:pt>
                <c:pt idx="47">
                  <c:v>133</c:v>
                </c:pt>
                <c:pt idx="48">
                  <c:v>146</c:v>
                </c:pt>
                <c:pt idx="49">
                  <c:v>138</c:v>
                </c:pt>
                <c:pt idx="50">
                  <c:v>142</c:v>
                </c:pt>
                <c:pt idx="51">
                  <c:v>152</c:v>
                </c:pt>
                <c:pt idx="52">
                  <c:v>150</c:v>
                </c:pt>
                <c:pt idx="53">
                  <c:v>162</c:v>
                </c:pt>
                <c:pt idx="54">
                  <c:v>170</c:v>
                </c:pt>
                <c:pt idx="55">
                  <c:v>192</c:v>
                </c:pt>
                <c:pt idx="56">
                  <c:v>214</c:v>
                </c:pt>
                <c:pt idx="57">
                  <c:v>208</c:v>
                </c:pt>
                <c:pt idx="58">
                  <c:v>237</c:v>
                </c:pt>
                <c:pt idx="59">
                  <c:v>239</c:v>
                </c:pt>
                <c:pt idx="60">
                  <c:v>268</c:v>
                </c:pt>
                <c:pt idx="61">
                  <c:v>312</c:v>
                </c:pt>
                <c:pt idx="62">
                  <c:v>317</c:v>
                </c:pt>
                <c:pt idx="63">
                  <c:v>345</c:v>
                </c:pt>
                <c:pt idx="64">
                  <c:v>345</c:v>
                </c:pt>
                <c:pt idx="65">
                  <c:v>383</c:v>
                </c:pt>
                <c:pt idx="66">
                  <c:v>388</c:v>
                </c:pt>
                <c:pt idx="67">
                  <c:v>423</c:v>
                </c:pt>
                <c:pt idx="68">
                  <c:v>469</c:v>
                </c:pt>
                <c:pt idx="69">
                  <c:v>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013535765110404</c:v>
                </c:pt>
                <c:pt idx="50">
                  <c:v>63.238591550741219</c:v>
                </c:pt>
                <c:pt idx="51">
                  <c:v>63.429461423676926</c:v>
                </c:pt>
                <c:pt idx="52">
                  <c:v>63.591588589058759</c:v>
                </c:pt>
                <c:pt idx="53">
                  <c:v>63.729897498090793</c:v>
                </c:pt>
                <c:pt idx="54">
                  <c:v>63.848213842117516</c:v>
                </c:pt>
                <c:pt idx="55">
                  <c:v>63.949441620981574</c:v>
                </c:pt>
                <c:pt idx="56">
                  <c:v>64.036020590188542</c:v>
                </c:pt>
                <c:pt idx="57">
                  <c:v>64.109785678235227</c:v>
                </c:pt>
                <c:pt idx="58">
                  <c:v>64.172633368203989</c:v>
                </c:pt>
                <c:pt idx="59">
                  <c:v>64.226179459437688</c:v>
                </c:pt>
                <c:pt idx="60">
                  <c:v>64.271800609361136</c:v>
                </c:pt>
                <c:pt idx="61">
                  <c:v>64.310669727020056</c:v>
                </c:pt>
                <c:pt idx="62">
                  <c:v>64.343786128297054</c:v>
                </c:pt>
                <c:pt idx="63">
                  <c:v>64.37200122808818</c:v>
                </c:pt>
                <c:pt idx="64">
                  <c:v>64.396040429979848</c:v>
                </c:pt>
                <c:pt idx="65">
                  <c:v>64.416521776204618</c:v>
                </c:pt>
                <c:pt idx="66">
                  <c:v>64.433971837361781</c:v>
                </c:pt>
                <c:pt idx="67">
                  <c:v>64.448839250423745</c:v>
                </c:pt>
                <c:pt idx="68">
                  <c:v>64.461506253087194</c:v>
                </c:pt>
                <c:pt idx="69">
                  <c:v>64.472298511014458</c:v>
                </c:pt>
                <c:pt idx="70">
                  <c:v>64.481493490621176</c:v>
                </c:pt>
                <c:pt idx="71">
                  <c:v>64.489327592672652</c:v>
                </c:pt>
                <c:pt idx="72">
                  <c:v>64.496002230091975</c:v>
                </c:pt>
                <c:pt idx="73">
                  <c:v>64.501689006238962</c:v>
                </c:pt>
                <c:pt idx="74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7.92845870150758</c:v>
                </c:pt>
                <c:pt idx="50">
                  <c:v>79.739455753279827</c:v>
                </c:pt>
                <c:pt idx="51">
                  <c:v>81.565031281366572</c:v>
                </c:pt>
                <c:pt idx="52">
                  <c:v>83.407320023933465</c:v>
                </c:pt>
                <c:pt idx="53">
                  <c:v>85.267986439288251</c:v>
                </c:pt>
                <c:pt idx="54">
                  <c:v>87.148354125801561</c:v>
                </c:pt>
                <c:pt idx="55">
                  <c:v>89.049305780970514</c:v>
                </c:pt>
                <c:pt idx="56">
                  <c:v>90.971493063567678</c:v>
                </c:pt>
                <c:pt idx="57">
                  <c:v>92.915453719887509</c:v>
                </c:pt>
                <c:pt idx="58">
                  <c:v>94.881434385524557</c:v>
                </c:pt>
                <c:pt idx="59">
                  <c:v>96.869684489812045</c:v>
                </c:pt>
                <c:pt idx="60">
                  <c:v>98.880456287467666</c:v>
                </c:pt>
                <c:pt idx="61">
                  <c:v>100.91400489059782</c:v>
                </c:pt>
                <c:pt idx="62">
                  <c:v>102.9705883010644</c:v>
                </c:pt>
                <c:pt idx="63">
                  <c:v>105.05046744321815</c:v>
                </c:pt>
                <c:pt idx="64">
                  <c:v>107.15390619700293</c:v>
                </c:pt>
                <c:pt idx="65">
                  <c:v>109.28117143143479</c:v>
                </c:pt>
                <c:pt idx="66">
                  <c:v>111.43253303846043</c:v>
                </c:pt>
                <c:pt idx="67">
                  <c:v>113.60826396719914</c:v>
                </c:pt>
                <c:pt idx="68">
                  <c:v>115.80864025857251</c:v>
                </c:pt>
                <c:pt idx="69">
                  <c:v>118.03394108032661</c:v>
                </c:pt>
                <c:pt idx="70">
                  <c:v>120.28444876245071</c:v>
                </c:pt>
                <c:pt idx="71">
                  <c:v>122.56044883299722</c:v>
                </c:pt>
                <c:pt idx="72">
                  <c:v>124.86223005430749</c:v>
                </c:pt>
                <c:pt idx="73">
                  <c:v>127.19008445964781</c:v>
                </c:pt>
                <c:pt idx="74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9.102282855760137</c:v>
                </c:pt>
                <c:pt idx="50">
                  <c:v>103.34619011046043</c:v>
                </c:pt>
                <c:pt idx="51">
                  <c:v>107.74008335844871</c:v>
                </c:pt>
                <c:pt idx="52">
                  <c:v>112.28815268958219</c:v>
                </c:pt>
                <c:pt idx="53">
                  <c:v>116.99467698397557</c:v>
                </c:pt>
                <c:pt idx="54">
                  <c:v>121.86400103985673</c:v>
                </c:pt>
                <c:pt idx="55">
                  <c:v>126.90048897297123</c:v>
                </c:pt>
                <c:pt idx="56">
                  <c:v>132.10852035796799</c:v>
                </c:pt>
                <c:pt idx="57">
                  <c:v>137.49249271702266</c:v>
                </c:pt>
                <c:pt idx="58">
                  <c:v>143.05834979817823</c:v>
                </c:pt>
                <c:pt idx="59">
                  <c:v>148.81223614489213</c:v>
                </c:pt>
                <c:pt idx="60">
                  <c:v>154.76050387943246</c:v>
                </c:pt>
                <c:pt idx="61">
                  <c:v>160.9097197154353</c:v>
                </c:pt>
                <c:pt idx="62">
                  <c:v>167.26667220736448</c:v>
                </c:pt>
                <c:pt idx="63">
                  <c:v>173.83837924487722</c:v>
                </c:pt>
                <c:pt idx="64">
                  <c:v>180.63209580036906</c:v>
                </c:pt>
                <c:pt idx="65">
                  <c:v>187.65532193825126</c:v>
                </c:pt>
                <c:pt idx="66">
                  <c:v>194.91581109480259</c:v>
                </c:pt>
                <c:pt idx="67">
                  <c:v>202.42157863773625</c:v>
                </c:pt>
                <c:pt idx="68">
                  <c:v>210.1809107149314</c:v>
                </c:pt>
                <c:pt idx="69">
                  <c:v>218.20237340209817</c:v>
                </c:pt>
                <c:pt idx="70">
                  <c:v>226.49482215947469</c:v>
                </c:pt>
                <c:pt idx="71">
                  <c:v>235.06741160799626</c:v>
                </c:pt>
                <c:pt idx="72">
                  <c:v>243.92960563572916</c:v>
                </c:pt>
                <c:pt idx="73">
                  <c:v>253.09118784572632</c:v>
                </c:pt>
                <c:pt idx="74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8.60536267506225</c:v>
                </c:pt>
                <c:pt idx="50">
                  <c:v>162.15505356669482</c:v>
                </c:pt>
                <c:pt idx="51">
                  <c:v>176.89057358412362</c:v>
                </c:pt>
                <c:pt idx="52">
                  <c:v>193.86221563992714</c:v>
                </c:pt>
                <c:pt idx="53">
                  <c:v>212.05095839544327</c:v>
                </c:pt>
                <c:pt idx="54">
                  <c:v>231.25377899268108</c:v>
                </c:pt>
                <c:pt idx="55">
                  <c:v>252.13620000782822</c:v>
                </c:pt>
                <c:pt idx="56">
                  <c:v>275.50881486402591</c:v>
                </c:pt>
                <c:pt idx="57">
                  <c:v>300.70709479140015</c:v>
                </c:pt>
                <c:pt idx="58">
                  <c:v>328.33328512922179</c:v>
                </c:pt>
                <c:pt idx="59">
                  <c:v>357.57064110531019</c:v>
                </c:pt>
                <c:pt idx="60">
                  <c:v>389.34556922622573</c:v>
                </c:pt>
                <c:pt idx="61">
                  <c:v>422.81166775439448</c:v>
                </c:pt>
                <c:pt idx="62">
                  <c:v>457.67944972688412</c:v>
                </c:pt>
                <c:pt idx="63">
                  <c:v>494.14781283013025</c:v>
                </c:pt>
                <c:pt idx="64">
                  <c:v>530.68328138338791</c:v>
                </c:pt>
                <c:pt idx="65">
                  <c:v>567.90589254645135</c:v>
                </c:pt>
                <c:pt idx="66">
                  <c:v>604.50024234800242</c:v>
                </c:pt>
                <c:pt idx="67">
                  <c:v>641.14990093332904</c:v>
                </c:pt>
                <c:pt idx="68">
                  <c:v>677.17251498938504</c:v>
                </c:pt>
                <c:pt idx="69">
                  <c:v>712.86766703730848</c:v>
                </c:pt>
                <c:pt idx="70">
                  <c:v>747.68775720968927</c:v>
                </c:pt>
                <c:pt idx="71">
                  <c:v>781.33775236237955</c:v>
                </c:pt>
                <c:pt idx="72">
                  <c:v>814.22112885678837</c:v>
                </c:pt>
                <c:pt idx="73">
                  <c:v>845.98228690641599</c:v>
                </c:pt>
                <c:pt idx="74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1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812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NUL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978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672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chart" Target="../charts/chart2.xml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1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akutní lůžka C+ pacienty k </a:t>
            </a:r>
          </a:p>
          <a:p>
            <a:pPr algn="ctr"/>
            <a:r>
              <a:rPr lang="cs-CZ" b="1" dirty="0" smtClean="0"/>
              <a:t>11.11.2021 00:23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491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8738744"/>
              </p:ext>
            </p:extLst>
          </p:nvPr>
        </p:nvGraphicFramePr>
        <p:xfrm>
          <a:off x="244895" y="1032746"/>
          <a:ext cx="9646451" cy="5317321"/>
        </p:xfrm>
        <a:graphic>
          <a:graphicData uri="http://schemas.openxmlformats.org/drawingml/2006/table">
            <a:tbl>
              <a:tblPr/>
              <a:tblGrid>
                <a:gridCol w="2140419">
                  <a:extLst>
                    <a:ext uri="{9D8B030D-6E8A-4147-A177-3AD203B41FA5}">
                      <a16:colId xmlns:a16="http://schemas.microsoft.com/office/drawing/2014/main" val="1461128011"/>
                    </a:ext>
                  </a:extLst>
                </a:gridCol>
                <a:gridCol w="1310461">
                  <a:extLst>
                    <a:ext uri="{9D8B030D-6E8A-4147-A177-3AD203B41FA5}">
                      <a16:colId xmlns:a16="http://schemas.microsoft.com/office/drawing/2014/main" val="1730945726"/>
                    </a:ext>
                  </a:extLst>
                </a:gridCol>
                <a:gridCol w="1212178">
                  <a:extLst>
                    <a:ext uri="{9D8B030D-6E8A-4147-A177-3AD203B41FA5}">
                      <a16:colId xmlns:a16="http://schemas.microsoft.com/office/drawing/2014/main" val="1853642465"/>
                    </a:ext>
                  </a:extLst>
                </a:gridCol>
                <a:gridCol w="1208536">
                  <a:extLst>
                    <a:ext uri="{9D8B030D-6E8A-4147-A177-3AD203B41FA5}">
                      <a16:colId xmlns:a16="http://schemas.microsoft.com/office/drawing/2014/main" val="3317303511"/>
                    </a:ext>
                  </a:extLst>
                </a:gridCol>
                <a:gridCol w="1252220">
                  <a:extLst>
                    <a:ext uri="{9D8B030D-6E8A-4147-A177-3AD203B41FA5}">
                      <a16:colId xmlns:a16="http://schemas.microsoft.com/office/drawing/2014/main" val="4242854941"/>
                    </a:ext>
                  </a:extLst>
                </a:gridCol>
                <a:gridCol w="1255859">
                  <a:extLst>
                    <a:ext uri="{9D8B030D-6E8A-4147-A177-3AD203B41FA5}">
                      <a16:colId xmlns:a16="http://schemas.microsoft.com/office/drawing/2014/main" val="2024186305"/>
                    </a:ext>
                  </a:extLst>
                </a:gridCol>
                <a:gridCol w="1266778">
                  <a:extLst>
                    <a:ext uri="{9D8B030D-6E8A-4147-A177-3AD203B41FA5}">
                      <a16:colId xmlns:a16="http://schemas.microsoft.com/office/drawing/2014/main" val="2016227437"/>
                    </a:ext>
                  </a:extLst>
                </a:gridCol>
              </a:tblGrid>
              <a:tr h="17097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9036520"/>
                  </a:ext>
                </a:extLst>
              </a:tr>
              <a:tr h="170976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1.11. 2021, 11:30 h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7036465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6245484"/>
                  </a:ext>
                </a:extLst>
              </a:tr>
              <a:tr h="15876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396408"/>
                  </a:ext>
                </a:extLst>
              </a:tr>
              <a:tr h="61673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172833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512343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8771698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89068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345946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318984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692950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4054753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94156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7081526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560826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6896897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726331"/>
                  </a:ext>
                </a:extLst>
              </a:tr>
              <a:tr h="15265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8811962"/>
                  </a:ext>
                </a:extLst>
              </a:tr>
              <a:tr h="16487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166225"/>
                  </a:ext>
                </a:extLst>
              </a:tr>
              <a:tr h="15876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80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8</a:t>
                      </a: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6106" marR="6106" marT="61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2725226"/>
                  </a:ext>
                </a:extLst>
              </a:tr>
              <a:tr h="20761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4923121"/>
                  </a:ext>
                </a:extLst>
              </a:tr>
              <a:tr h="14288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1949382"/>
                  </a:ext>
                </a:extLst>
              </a:tr>
              <a:tr h="20385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3723577"/>
                  </a:ext>
                </a:extLst>
              </a:tr>
              <a:tr h="15265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x</a:t>
                      </a: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06" marR="6106" marT="610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3109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6442908"/>
              </p:ext>
            </p:extLst>
          </p:nvPr>
        </p:nvGraphicFramePr>
        <p:xfrm>
          <a:off x="252994" y="990353"/>
          <a:ext cx="9603182" cy="5322322"/>
        </p:xfrm>
        <a:graphic>
          <a:graphicData uri="http://schemas.openxmlformats.org/drawingml/2006/table">
            <a:tbl>
              <a:tblPr/>
              <a:tblGrid>
                <a:gridCol w="2130819">
                  <a:extLst>
                    <a:ext uri="{9D8B030D-6E8A-4147-A177-3AD203B41FA5}">
                      <a16:colId xmlns:a16="http://schemas.microsoft.com/office/drawing/2014/main" val="670996519"/>
                    </a:ext>
                  </a:extLst>
                </a:gridCol>
                <a:gridCol w="1304583">
                  <a:extLst>
                    <a:ext uri="{9D8B030D-6E8A-4147-A177-3AD203B41FA5}">
                      <a16:colId xmlns:a16="http://schemas.microsoft.com/office/drawing/2014/main" val="965338554"/>
                    </a:ext>
                  </a:extLst>
                </a:gridCol>
                <a:gridCol w="1206740">
                  <a:extLst>
                    <a:ext uri="{9D8B030D-6E8A-4147-A177-3AD203B41FA5}">
                      <a16:colId xmlns:a16="http://schemas.microsoft.com/office/drawing/2014/main" val="3431080082"/>
                    </a:ext>
                  </a:extLst>
                </a:gridCol>
                <a:gridCol w="1203116">
                  <a:extLst>
                    <a:ext uri="{9D8B030D-6E8A-4147-A177-3AD203B41FA5}">
                      <a16:colId xmlns:a16="http://schemas.microsoft.com/office/drawing/2014/main" val="2099570762"/>
                    </a:ext>
                  </a:extLst>
                </a:gridCol>
                <a:gridCol w="1246601">
                  <a:extLst>
                    <a:ext uri="{9D8B030D-6E8A-4147-A177-3AD203B41FA5}">
                      <a16:colId xmlns:a16="http://schemas.microsoft.com/office/drawing/2014/main" val="3964024427"/>
                    </a:ext>
                  </a:extLst>
                </a:gridCol>
                <a:gridCol w="1250226">
                  <a:extLst>
                    <a:ext uri="{9D8B030D-6E8A-4147-A177-3AD203B41FA5}">
                      <a16:colId xmlns:a16="http://schemas.microsoft.com/office/drawing/2014/main" val="1444068589"/>
                    </a:ext>
                  </a:extLst>
                </a:gridCol>
                <a:gridCol w="1261097">
                  <a:extLst>
                    <a:ext uri="{9D8B030D-6E8A-4147-A177-3AD203B41FA5}">
                      <a16:colId xmlns:a16="http://schemas.microsoft.com/office/drawing/2014/main" val="141251477"/>
                    </a:ext>
                  </a:extLst>
                </a:gridCol>
              </a:tblGrid>
              <a:tr h="16422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2039960"/>
                  </a:ext>
                </a:extLst>
              </a:tr>
              <a:tr h="172868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1.11. 2021, 11:30 h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89510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461540"/>
                  </a:ext>
                </a:extLst>
              </a:tr>
              <a:tr h="1605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2744877"/>
                  </a:ext>
                </a:extLst>
              </a:tr>
              <a:tr h="62356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61363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78425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539575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903571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8574905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5836247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868447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199958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4476556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1476651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7042078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5547654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251722"/>
                  </a:ext>
                </a:extLst>
              </a:tr>
              <a:tr h="1543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181451"/>
                  </a:ext>
                </a:extLst>
              </a:tr>
              <a:tr h="16052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9245807"/>
                  </a:ext>
                </a:extLst>
              </a:tr>
              <a:tr h="166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4" marR="6174" marT="617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4290394"/>
                  </a:ext>
                </a:extLst>
              </a:tr>
              <a:tr h="154347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4577733"/>
                  </a:ext>
                </a:extLst>
              </a:tr>
              <a:tr h="144468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9106455"/>
                  </a:ext>
                </a:extLst>
              </a:tr>
              <a:tr h="14502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0667917"/>
                  </a:ext>
                </a:extLst>
              </a:tr>
              <a:tr h="154347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x</a:t>
                      </a: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4" marR="6174" marT="61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6394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486005" y="2147602"/>
            <a:ext cx="278602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1.11.2021 00:23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2 961</a:t>
            </a:r>
            <a:endParaRPr lang="cs-CZ" b="1" dirty="0"/>
          </a:p>
          <a:p>
            <a:pPr algn="ctr"/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645161" y="4001514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077394"/>
              </p:ext>
            </p:extLst>
          </p:nvPr>
        </p:nvGraphicFramePr>
        <p:xfrm>
          <a:off x="229045" y="990358"/>
          <a:ext cx="9327298" cy="5303976"/>
        </p:xfrm>
        <a:graphic>
          <a:graphicData uri="http://schemas.openxmlformats.org/drawingml/2006/table">
            <a:tbl>
              <a:tblPr/>
              <a:tblGrid>
                <a:gridCol w="2067263">
                  <a:extLst>
                    <a:ext uri="{9D8B030D-6E8A-4147-A177-3AD203B41FA5}">
                      <a16:colId xmlns:a16="http://schemas.microsoft.com/office/drawing/2014/main" val="112945280"/>
                    </a:ext>
                  </a:extLst>
                </a:gridCol>
                <a:gridCol w="1265672">
                  <a:extLst>
                    <a:ext uri="{9D8B030D-6E8A-4147-A177-3AD203B41FA5}">
                      <a16:colId xmlns:a16="http://schemas.microsoft.com/office/drawing/2014/main" val="3880495247"/>
                    </a:ext>
                  </a:extLst>
                </a:gridCol>
                <a:gridCol w="1170746">
                  <a:extLst>
                    <a:ext uri="{9D8B030D-6E8A-4147-A177-3AD203B41FA5}">
                      <a16:colId xmlns:a16="http://schemas.microsoft.com/office/drawing/2014/main" val="368908983"/>
                    </a:ext>
                  </a:extLst>
                </a:gridCol>
                <a:gridCol w="1167231">
                  <a:extLst>
                    <a:ext uri="{9D8B030D-6E8A-4147-A177-3AD203B41FA5}">
                      <a16:colId xmlns:a16="http://schemas.microsoft.com/office/drawing/2014/main" val="2692238231"/>
                    </a:ext>
                  </a:extLst>
                </a:gridCol>
                <a:gridCol w="1209420">
                  <a:extLst>
                    <a:ext uri="{9D8B030D-6E8A-4147-A177-3AD203B41FA5}">
                      <a16:colId xmlns:a16="http://schemas.microsoft.com/office/drawing/2014/main" val="3419372780"/>
                    </a:ext>
                  </a:extLst>
                </a:gridCol>
                <a:gridCol w="1223483">
                  <a:extLst>
                    <a:ext uri="{9D8B030D-6E8A-4147-A177-3AD203B41FA5}">
                      <a16:colId xmlns:a16="http://schemas.microsoft.com/office/drawing/2014/main" val="3317332457"/>
                    </a:ext>
                  </a:extLst>
                </a:gridCol>
                <a:gridCol w="1223483">
                  <a:extLst>
                    <a:ext uri="{9D8B030D-6E8A-4147-A177-3AD203B41FA5}">
                      <a16:colId xmlns:a16="http://schemas.microsoft.com/office/drawing/2014/main" val="4166370981"/>
                    </a:ext>
                  </a:extLst>
                </a:gridCol>
              </a:tblGrid>
              <a:tr h="178334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a neinfekční oddělení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2062514"/>
                  </a:ext>
                </a:extLst>
              </a:tr>
              <a:tr h="1783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1.11. 2021, 11:30 h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7768755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026011"/>
                  </a:ext>
                </a:extLst>
              </a:tr>
              <a:tr h="17833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na Infekčním oddělení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9439156"/>
                  </a:ext>
                </a:extLst>
              </a:tr>
              <a:tr h="48404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17875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0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08106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02098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529683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0860937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05994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450709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40775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1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247870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047118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37932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7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2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961616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391705"/>
                  </a:ext>
                </a:extLst>
              </a:tr>
              <a:tr h="15922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554572"/>
                  </a:ext>
                </a:extLst>
              </a:tr>
              <a:tr h="16559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619995"/>
                  </a:ext>
                </a:extLst>
              </a:tr>
              <a:tr h="17196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919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64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5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5</a:t>
                      </a:r>
                    </a:p>
                  </a:txBody>
                  <a:tcPr marL="6369" marR="6369" marT="63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6369" marR="6369" marT="636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6805550"/>
                  </a:ext>
                </a:extLst>
              </a:tr>
              <a:tr h="159226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7556866"/>
                  </a:ext>
                </a:extLst>
              </a:tr>
              <a:tr h="149036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3078158"/>
                  </a:ext>
                </a:extLst>
              </a:tr>
              <a:tr h="10220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9685483"/>
                  </a:ext>
                </a:extLst>
              </a:tr>
              <a:tr h="159226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x</a:t>
                      </a: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69" marR="6369" marT="63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29920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sz="2800" dirty="0" smtClean="0"/>
              <a:t>Seznam </a:t>
            </a:r>
            <a:r>
              <a:rPr lang="cs-CZ" sz="2800" dirty="0"/>
              <a:t>nemocnic neaktualizovaných déle než 48 h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8945783" y="3190046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11:45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442056"/>
              </p:ext>
            </p:extLst>
          </p:nvPr>
        </p:nvGraphicFramePr>
        <p:xfrm>
          <a:off x="2032487" y="1237225"/>
          <a:ext cx="6074021" cy="4710234"/>
        </p:xfrm>
        <a:graphic>
          <a:graphicData uri="http://schemas.openxmlformats.org/drawingml/2006/table">
            <a:tbl>
              <a:tblPr/>
              <a:tblGrid>
                <a:gridCol w="3664928">
                  <a:extLst>
                    <a:ext uri="{9D8B030D-6E8A-4147-A177-3AD203B41FA5}">
                      <a16:colId xmlns:a16="http://schemas.microsoft.com/office/drawing/2014/main" val="2179594674"/>
                    </a:ext>
                  </a:extLst>
                </a:gridCol>
                <a:gridCol w="691612">
                  <a:extLst>
                    <a:ext uri="{9D8B030D-6E8A-4147-A177-3AD203B41FA5}">
                      <a16:colId xmlns:a16="http://schemas.microsoft.com/office/drawing/2014/main" val="602043726"/>
                    </a:ext>
                  </a:extLst>
                </a:gridCol>
                <a:gridCol w="1717481">
                  <a:extLst>
                    <a:ext uri="{9D8B030D-6E8A-4147-A177-3AD203B41FA5}">
                      <a16:colId xmlns:a16="http://schemas.microsoft.com/office/drawing/2014/main" val="1103589038"/>
                    </a:ext>
                  </a:extLst>
                </a:gridCol>
              </a:tblGrid>
              <a:tr h="3888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6378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 Náchod a.s., Nemocnice Rychnov nad Kněžnou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K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1.2021 9:09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0576905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Třinec, příspěvková organiz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1.2021 13:36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5543483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ská nemocnice Čásla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.11.2021 5:09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235079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trakonice,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.11.2021 6:02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8600370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ršovická zdravotní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.11.2021 21:19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663792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. Pardubického kraje, a.s., Litomyšlská nem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0:08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836549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ská nemocnice Ostrava, příspěvková organiz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05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65410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arykova nemocnice Rakovník s.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10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1832727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ská nemocnice Městec Králové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16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9190265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18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36695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8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7DAC38C-49B3-4183-86EE-FA96D2C334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1145F19-9A7D-4405-B30F-609B477EF3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0F7A715-DE2D-47FA-B935-5C97DBE86D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CD1195-42E6-4992-B39E-DF5431C65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ED449F8E-85D3-423B-9C30-0A45277B476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F05ED1BE-B1E8-45BF-942B-03FC62FAA3B5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167DD106-FA41-45E1-9690-009F1C865C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BE2C969C-7948-4FE1-A903-730DB795042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7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48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6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5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5 29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0470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F4D3CE41-9826-4EF5-AC14-D66285966B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982C967-38E9-4959-8A25-252E58E3EF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6B2E011-5906-41C9-A178-4347F6CF9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DAAB671-042B-4AB1-9C51-FC0B4B011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302E574-19AF-4F44-9D4F-F5F97B464B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08A78F6-14EF-42C0-B719-4A620555AFB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5AD4C16-E549-4E7E-8C7E-306B9664500F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270502-7CC0-4A8E-BC3B-48F51D4152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746CF691-E91B-4636-B39F-17C1AFCDE98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6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8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55348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18605</TotalTime>
  <Words>1044</Words>
  <Application>Microsoft Office PowerPoint</Application>
  <PresentationFormat>Širokoúhlá obrazovka</PresentationFormat>
  <Paragraphs>496</Paragraphs>
  <Slides>7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7</vt:i4>
      </vt:variant>
    </vt:vector>
  </HeadingPairs>
  <TitlesOfParts>
    <vt:vector size="14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Seznam nemocnic neaktualizovaných déle než 48 h </vt:lpstr>
      <vt:lpstr>Predikce celkového počtu hospitalizací – aktuální počet léčených </vt:lpstr>
      <vt:lpstr>Predikce počtu pacientů na JIP – aktuální počet případů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408</cp:revision>
  <cp:lastPrinted>2020-10-20T04:21:56Z</cp:lastPrinted>
  <dcterms:created xsi:type="dcterms:W3CDTF">2020-07-15T10:33:32Z</dcterms:created>
  <dcterms:modified xsi:type="dcterms:W3CDTF">2021-11-11T10:59:23Z</dcterms:modified>
</cp:coreProperties>
</file>